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72" r:id="rId5"/>
  </p:sldMasterIdLst>
  <p:notesMasterIdLst>
    <p:notesMasterId r:id="rId8"/>
  </p:notesMasterIdLst>
  <p:sldIdLst>
    <p:sldId id="2147377211" r:id="rId6"/>
    <p:sldId id="2147377212" r:id="rId7"/>
  </p:sldIdLst>
  <p:sldSz cx="9906000" cy="6858000" type="A4"/>
  <p:notesSz cx="7102475" cy="10234613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36366"/>
    <a:srgbClr val="E6E7E9"/>
    <a:srgbClr val="D1D2D4"/>
    <a:srgbClr val="C5C5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539" autoAdjust="0"/>
    <p:restoredTop sz="96134" autoAdjust="0"/>
  </p:normalViewPr>
  <p:slideViewPr>
    <p:cSldViewPr snapToGrid="0">
      <p:cViewPr>
        <p:scale>
          <a:sx n="125" d="100"/>
          <a:sy n="125" d="100"/>
        </p:scale>
        <p:origin x="1254" y="-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7739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l">
              <a:defRPr sz="13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4023093" y="0"/>
            <a:ext cx="3077739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r">
              <a:defRPr sz="1300"/>
            </a:lvl1pPr>
          </a:lstStyle>
          <a:p>
            <a:fld id="{F7C762DF-EB10-41E1-9C9F-3822698AED22}" type="datetimeFigureOut">
              <a:rPr kumimoji="1" lang="ja-JP" altLang="en-US" smtClean="0"/>
              <a:t>2026/2/6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055688" y="1279525"/>
            <a:ext cx="499110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66" tIns="49533" rIns="99066" bIns="49533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710248" y="4925409"/>
            <a:ext cx="5681980" cy="4029879"/>
          </a:xfrm>
          <a:prstGeom prst="rect">
            <a:avLst/>
          </a:prstGeom>
        </p:spPr>
        <p:txBody>
          <a:bodyPr vert="horz" lIns="99066" tIns="49533" rIns="99066" bIns="49533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721109"/>
            <a:ext cx="3077739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l">
              <a:defRPr sz="13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4023093" y="9721109"/>
            <a:ext cx="3077739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r">
              <a:defRPr sz="1300"/>
            </a:lvl1pPr>
          </a:lstStyle>
          <a:p>
            <a:fld id="{B2359E60-057D-4411-AD34-07E219C50B4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5333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8.jpeg"/><Relationship Id="rId5" Type="http://schemas.openxmlformats.org/officeDocument/2006/relationships/image" Target="../media/image6.jpeg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2/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510348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2/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354715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2/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887344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idx="1" hasCustomPrompt="1"/>
          </p:nvPr>
        </p:nvSpPr>
        <p:spPr>
          <a:xfrm>
            <a:off x="742950" y="1955800"/>
            <a:ext cx="8420100" cy="4114800"/>
          </a:xfrm>
        </p:spPr>
        <p:txBody>
          <a:bodyPr/>
          <a:lstStyle>
            <a:lvl1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  <a:lvl2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2pPr>
            <a:lvl3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3pPr>
            <a:lvl4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4pPr>
            <a:lvl5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5pPr>
          </a:lstStyle>
          <a:p>
            <a:pPr lvl="0"/>
            <a:r>
              <a:rPr lang="ja-JP" altLang="en-US"/>
              <a:t>マスター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9" name="テキスト プレースホルダー 8">
            <a:extLst>
              <a:ext uri="{FF2B5EF4-FFF2-40B4-BE49-F238E27FC236}">
                <a16:creationId xmlns:a16="http://schemas.microsoft.com/office/drawing/2014/main" id="{B88233FD-50A6-4926-BCA6-26A498F3E1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3973" y="794027"/>
            <a:ext cx="8482500" cy="339837"/>
          </a:xfrm>
        </p:spPr>
        <p:txBody>
          <a:bodyPr wrap="square">
            <a:spAutoFit/>
          </a:bodyPr>
          <a:lstStyle>
            <a:lvl1pPr marL="0" indent="0">
              <a:buNone/>
              <a:defRPr sz="1625"/>
            </a:lvl1pPr>
            <a:lvl2pPr>
              <a:defRPr sz="1625"/>
            </a:lvl2pPr>
            <a:lvl3pPr>
              <a:defRPr sz="1625"/>
            </a:lvl3pPr>
            <a:lvl4pPr>
              <a:defRPr sz="1625"/>
            </a:lvl4pPr>
            <a:lvl5pPr>
              <a:defRPr sz="1625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DF890B37-B824-44E3-B474-D2BDA5D77E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026415" y="6431375"/>
            <a:ext cx="576210" cy="229935"/>
          </a:xfrm>
        </p:spPr>
        <p:txBody>
          <a:bodyPr wrap="square">
            <a:spAutoFit/>
          </a:bodyPr>
          <a:lstStyle>
            <a:lvl1pPr>
              <a:defRPr sz="894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fld id="{48C89B1B-5162-48FA-8BAD-B834536DFEC3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9316938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DF890B37-B824-44E3-B474-D2BDA5D77E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246800" y="6508520"/>
            <a:ext cx="355826" cy="195438"/>
          </a:xfrm>
        </p:spPr>
        <p:txBody>
          <a:bodyPr wrap="square">
            <a:spAutoFit/>
          </a:bodyPr>
          <a:lstStyle>
            <a:lvl1pPr>
              <a:defRPr sz="67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fld id="{48C89B1B-5162-48FA-8BAD-B834536DFEC3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1455515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Lines 3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7678127" y="0"/>
            <a:ext cx="2227875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813" b="0"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EF655138-28FD-E64F-BD10-FE74AE3BF7A6}"/>
              </a:ext>
            </a:extLst>
          </p:cNvPr>
          <p:cNvSpPr>
            <a:spLocks/>
          </p:cNvSpPr>
          <p:nvPr userDrawn="1"/>
        </p:nvSpPr>
        <p:spPr bwMode="white">
          <a:xfrm>
            <a:off x="-6879" y="3"/>
            <a:ext cx="9912879" cy="6862763"/>
          </a:xfrm>
          <a:custGeom>
            <a:avLst/>
            <a:gdLst>
              <a:gd name="T0" fmla="*/ 14239 w 19200"/>
              <a:gd name="T1" fmla="*/ 0 h 14399"/>
              <a:gd name="T2" fmla="*/ 14239 w 19200"/>
              <a:gd name="T3" fmla="*/ 0 h 14399"/>
              <a:gd name="T4" fmla="*/ 14239 w 19200"/>
              <a:gd name="T5" fmla="*/ 9227 h 14399"/>
              <a:gd name="T6" fmla="*/ 0 w 19200"/>
              <a:gd name="T7" fmla="*/ 9227 h 14399"/>
              <a:gd name="T8" fmla="*/ 0 w 19200"/>
              <a:gd name="T9" fmla="*/ 9869 h 14399"/>
              <a:gd name="T10" fmla="*/ 14239 w 19200"/>
              <a:gd name="T11" fmla="*/ 9869 h 14399"/>
              <a:gd name="T12" fmla="*/ 14239 w 19200"/>
              <a:gd name="T13" fmla="*/ 14399 h 14399"/>
              <a:gd name="T14" fmla="*/ 14881 w 19200"/>
              <a:gd name="T15" fmla="*/ 14399 h 14399"/>
              <a:gd name="T16" fmla="*/ 14881 w 19200"/>
              <a:gd name="T17" fmla="*/ 9869 h 14399"/>
              <a:gd name="T18" fmla="*/ 19200 w 19200"/>
              <a:gd name="T19" fmla="*/ 9869 h 14399"/>
              <a:gd name="T20" fmla="*/ 19200 w 19200"/>
              <a:gd name="T21" fmla="*/ 9227 h 14399"/>
              <a:gd name="T22" fmla="*/ 14881 w 19200"/>
              <a:gd name="T23" fmla="*/ 9227 h 14399"/>
              <a:gd name="T24" fmla="*/ 14881 w 19200"/>
              <a:gd name="T25" fmla="*/ 2789 h 14399"/>
              <a:gd name="T26" fmla="*/ 19200 w 19200"/>
              <a:gd name="T27" fmla="*/ 2789 h 14399"/>
              <a:gd name="T28" fmla="*/ 19200 w 19200"/>
              <a:gd name="T29" fmla="*/ 2147 h 14399"/>
              <a:gd name="T30" fmla="*/ 14881 w 19200"/>
              <a:gd name="T31" fmla="*/ 2147 h 14399"/>
              <a:gd name="T32" fmla="*/ 14881 w 19200"/>
              <a:gd name="T33" fmla="*/ 0 h 14399"/>
              <a:gd name="T34" fmla="*/ 14239 w 19200"/>
              <a:gd name="T35" fmla="*/ 0 h 14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9200" h="14399">
                <a:moveTo>
                  <a:pt x="14239" y="0"/>
                </a:moveTo>
                <a:lnTo>
                  <a:pt x="14239" y="0"/>
                </a:lnTo>
                <a:lnTo>
                  <a:pt x="14239" y="9227"/>
                </a:lnTo>
                <a:lnTo>
                  <a:pt x="0" y="9227"/>
                </a:lnTo>
                <a:lnTo>
                  <a:pt x="0" y="9869"/>
                </a:lnTo>
                <a:lnTo>
                  <a:pt x="14239" y="9869"/>
                </a:lnTo>
                <a:lnTo>
                  <a:pt x="14239" y="14399"/>
                </a:lnTo>
                <a:lnTo>
                  <a:pt x="14881" y="14399"/>
                </a:lnTo>
                <a:lnTo>
                  <a:pt x="14881" y="9869"/>
                </a:lnTo>
                <a:lnTo>
                  <a:pt x="19200" y="9869"/>
                </a:lnTo>
                <a:lnTo>
                  <a:pt x="19200" y="9227"/>
                </a:lnTo>
                <a:lnTo>
                  <a:pt x="14881" y="9227"/>
                </a:lnTo>
                <a:lnTo>
                  <a:pt x="14881" y="2789"/>
                </a:lnTo>
                <a:lnTo>
                  <a:pt x="19200" y="2789"/>
                </a:lnTo>
                <a:lnTo>
                  <a:pt x="19200" y="2147"/>
                </a:lnTo>
                <a:lnTo>
                  <a:pt x="14881" y="2147"/>
                </a:lnTo>
                <a:lnTo>
                  <a:pt x="14881" y="0"/>
                </a:lnTo>
                <a:lnTo>
                  <a:pt x="14239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668"/>
          </a:p>
        </p:txBody>
      </p:sp>
      <p:sp>
        <p:nvSpPr>
          <p:cNvPr id="8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95301" y="457201"/>
            <a:ext cx="5843852" cy="2743200"/>
          </a:xfrm>
        </p:spPr>
        <p:txBody>
          <a:bodyPr anchor="b" anchorCtr="0">
            <a:normAutofit/>
          </a:bodyPr>
          <a:lstStyle>
            <a:lvl1pPr algn="l">
              <a:lnSpc>
                <a:spcPct val="85000"/>
              </a:lnSpc>
              <a:defRPr sz="3576">
                <a:solidFill>
                  <a:schemeClr val="bg1"/>
                </a:solidFill>
              </a:defRPr>
            </a:lvl1pPr>
          </a:lstStyle>
          <a:p>
            <a:r>
              <a:rPr lang="en-US"/>
              <a:t>[Presentation title]</a:t>
            </a:r>
            <a:endParaRPr lang="en-GB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725845A-5B94-7F4D-845E-DD9CA7AB84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429000"/>
            <a:ext cx="4311948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  <p:pic>
        <p:nvPicPr>
          <p:cNvPr id="9" name="Picture 4">
            <a:extLst>
              <a:ext uri="{FF2B5EF4-FFF2-40B4-BE49-F238E27FC236}">
                <a16:creationId xmlns:a16="http://schemas.microsoft.com/office/drawing/2014/main" id="{C0EEA18B-2A17-48D2-B83A-ECAC99CDB9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50425" y="5330952"/>
            <a:ext cx="1329881" cy="135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526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>
            <a:spLocks/>
          </p:cNvSpPr>
          <p:nvPr/>
        </p:nvSpPr>
        <p:spPr bwMode="hidden">
          <a:xfrm>
            <a:off x="0" y="4940854"/>
            <a:ext cx="9906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63">
              <a:uFillTx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1491" y="428625"/>
            <a:ext cx="4446091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713">
                <a:solidFill>
                  <a:schemeClr val="tx1"/>
                </a:solidFill>
                <a:uFillTx/>
              </a:defRPr>
            </a:lvl1pPr>
          </a:lstStyle>
          <a:p>
            <a:r>
              <a:rPr lang="en-US">
                <a:uFillTx/>
              </a:rPr>
              <a:t>Thank you</a:t>
            </a:r>
            <a:endParaRPr lang="en-GB">
              <a:uFillTx/>
            </a:endParaRPr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4333875" y="0"/>
            <a:ext cx="5572125" cy="6858000"/>
          </a:xfrm>
          <a:prstGeom prst="rect">
            <a:avLst/>
          </a:prstGeom>
          <a:noFill/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>
              <a:uFillTx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31500" y="5259600"/>
            <a:ext cx="9243000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9pPr>
          </a:lstStyle>
          <a:p>
            <a:pPr lvl="0"/>
            <a:r>
              <a:rPr lang="en-US">
                <a:uFillTx/>
              </a:rPr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4333875" y="0"/>
            <a:ext cx="5572125" cy="6858000"/>
          </a:xfrm>
          <a:prstGeom prst="rect">
            <a:avLst/>
          </a:prstGeom>
          <a:noFill/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>
              <a:uFillTx/>
            </a:endParaRPr>
          </a:p>
        </p:txBody>
      </p:sp>
      <p:sp>
        <p:nvSpPr>
          <p:cNvPr id="8" name="TextBox 7"/>
          <p:cNvSpPr txBox="1">
            <a:spLocks/>
          </p:cNvSpPr>
          <p:nvPr userDrawn="1"/>
        </p:nvSpPr>
        <p:spPr>
          <a:xfrm>
            <a:off x="359867" y="4400549"/>
            <a:ext cx="4447380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975">
                <a:solidFill>
                  <a:schemeClr val="tx1"/>
                </a:solidFill>
                <a:uFillTx/>
              </a:rPr>
              <a:t>www.pwc.com/jp</a:t>
            </a:r>
          </a:p>
        </p:txBody>
      </p:sp>
    </p:spTree>
    <p:extLst>
      <p:ext uri="{BB962C8B-B14F-4D97-AF65-F5344CB8AC3E}">
        <p14:creationId xmlns:p14="http://schemas.microsoft.com/office/powerpoint/2010/main" val="40833252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>
            <a:lvl1pPr>
              <a:defRPr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6" name="スライド番号プレースホルダー 1">
            <a:extLst>
              <a:ext uri="{FF2B5EF4-FFF2-40B4-BE49-F238E27FC236}">
                <a16:creationId xmlns:a16="http://schemas.microsoft.com/office/drawing/2014/main" id="{ED8CCE63-9FB6-4AAB-BAF7-16CA6BF0DD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ja-JP" altLang="en-US" sz="731" smtClean="0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pPr algn="r"/>
            <a:fld id="{48C89B1B-5162-48FA-8BAD-B834536DFEC3}" type="slidenum">
              <a:rPr lang="en-US" altLang="ja-JP" smtClean="0"/>
              <a:pPr algn="r"/>
              <a:t>‹#›</a:t>
            </a:fld>
            <a:endParaRPr lang="en-US" altLang="ja-JP"/>
          </a:p>
        </p:txBody>
      </p:sp>
      <p:sp>
        <p:nvSpPr>
          <p:cNvPr id="5" name="テキスト プレースホルダー 8">
            <a:extLst>
              <a:ext uri="{FF2B5EF4-FFF2-40B4-BE49-F238E27FC236}">
                <a16:creationId xmlns:a16="http://schemas.microsoft.com/office/drawing/2014/main" id="{CA794700-0E7E-40C9-80B2-1F45E31C3A2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3973" y="831736"/>
            <a:ext cx="8920342" cy="339837"/>
          </a:xfrm>
        </p:spPr>
        <p:txBody>
          <a:bodyPr wrap="square">
            <a:spAutoFit/>
          </a:bodyPr>
          <a:lstStyle>
            <a:lvl1pPr marL="0" indent="0">
              <a:buNone/>
              <a:defRPr sz="1625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  <a:lvl2pPr>
              <a:defRPr sz="1625"/>
            </a:lvl2pPr>
            <a:lvl3pPr>
              <a:defRPr sz="1625"/>
            </a:lvl3pPr>
            <a:lvl4pPr>
              <a:defRPr sz="1625"/>
            </a:lvl4pPr>
            <a:lvl5pPr>
              <a:defRPr sz="1625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7" name="Google Shape;22;p71">
            <a:extLst>
              <a:ext uri="{FF2B5EF4-FFF2-40B4-BE49-F238E27FC236}">
                <a16:creationId xmlns:a16="http://schemas.microsoft.com/office/drawing/2014/main" id="{0997E6B9-AD44-499D-8119-4D5916FD91F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42950" y="1955800"/>
            <a:ext cx="8420100" cy="411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371475" lvl="0" indent="-371475">
              <a:buFont typeface="+mj-lt"/>
              <a:buAutoNum type="arabicPeriod"/>
            </a:pPr>
            <a:r>
              <a:rPr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8828241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タイトルとコンテンツ">
  <p:cSld name="4_タイトルとコンテンツ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415"/>
          <p:cNvSpPr txBox="1">
            <a:spLocks noGrp="1"/>
          </p:cNvSpPr>
          <p:nvPr>
            <p:ph type="body" idx="1"/>
          </p:nvPr>
        </p:nvSpPr>
        <p:spPr>
          <a:xfrm>
            <a:off x="603973" y="794027"/>
            <a:ext cx="8482500" cy="3783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t" anchorCtr="0">
            <a:spAutoFit/>
          </a:bodyPr>
          <a:lstStyle>
            <a:lvl1pPr marL="0" lvl="0" indent="0" algn="l">
              <a:spcBef>
                <a:spcPts val="325"/>
              </a:spcBef>
              <a:spcAft>
                <a:spcPts val="0"/>
              </a:spcAft>
              <a:buSzPts val="2000"/>
              <a:buNone/>
              <a:tabLst/>
              <a:defRPr sz="1625"/>
            </a:lvl1pPr>
            <a:lvl2pPr marL="742950" lvl="1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2pPr>
            <a:lvl3pPr marL="1114425" lvl="2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3pPr>
            <a:lvl4pPr marL="1485900" lvl="3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4pPr>
            <a:lvl5pPr marL="1857375" lvl="4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5pPr>
            <a:lvl6pPr marL="2228850" lvl="5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6pPr>
            <a:lvl7pPr marL="2600325" lvl="6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7pPr>
            <a:lvl8pPr marL="2971800" lvl="7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8pPr>
            <a:lvl9pPr marL="3343275" lvl="8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34" name="Google Shape;34;p415"/>
          <p:cNvSpPr txBox="1"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ja-JP" altLang="en-US"/>
              <a:t>マスター タイトルの書式設定</a:t>
            </a:r>
            <a:endParaRPr/>
          </a:p>
        </p:txBody>
      </p:sp>
      <p:sp>
        <p:nvSpPr>
          <p:cNvPr id="35" name="Google Shape;35;p415"/>
          <p:cNvSpPr txBox="1">
            <a:spLocks noGrp="1"/>
          </p:cNvSpPr>
          <p:nvPr>
            <p:ph type="sldNum" idx="12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altLang="ja-JP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54922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D9BFE30A-CCA0-44EF-8F59-0DE32EAF47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3835496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04" imgH="405" progId="TCLayout.ActiveDocument.1">
                  <p:embed/>
                </p:oleObj>
              </mc:Choice>
              <mc:Fallback>
                <p:oleObj name="think-cell スライド" r:id="rId3" imgW="404" imgH="405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D9BFE30A-CCA0-44EF-8F59-0DE32EAF47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>
            <a:extLst>
              <a:ext uri="{FF2B5EF4-FFF2-40B4-BE49-F238E27FC236}">
                <a16:creationId xmlns:a16="http://schemas.microsoft.com/office/drawing/2014/main" id="{95CE4F12-0820-4D66-BE5E-179CDAC766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28671" y="1218615"/>
            <a:ext cx="5925184" cy="238760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>
              <a:lnSpc>
                <a:spcPct val="120000"/>
              </a:lnSpc>
              <a:defRPr sz="3250" b="1" i="0">
                <a:solidFill>
                  <a:schemeClr val="bg2"/>
                </a:solidFill>
                <a:latin typeface="+mj-ea"/>
                <a:ea typeface="+mj-ea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D6707C9C-2033-4A3A-B5CE-985980B3E6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28670" y="3870402"/>
            <a:ext cx="5925184" cy="4844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kumimoji="1" lang="ja-JP" altLang="en-US"/>
              <a:t>マスター 部署名・氏名の書式設定</a:t>
            </a:r>
            <a:endParaRPr kumimoji="1" lang="en-US" altLang="ja-JP"/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B93455E2-E2BE-4AB4-8B1C-C5E34AB872C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l" defTabSz="742950" rtl="0" eaLnBrk="1" latinLnBrk="0" hangingPunct="1">
              <a:defRPr kumimoji="1" sz="97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147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295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1442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5737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0032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7180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kumimoji="1" lang="ja-JP" altLang="en-US"/>
          </a:p>
        </p:txBody>
      </p:sp>
      <p:sp>
        <p:nvSpPr>
          <p:cNvPr id="16" name="テキスト プレースホルダー 3">
            <a:extLst>
              <a:ext uri="{FF2B5EF4-FFF2-40B4-BE49-F238E27FC236}">
                <a16:creationId xmlns:a16="http://schemas.microsoft.com/office/drawing/2014/main" id="{560656BB-9422-4240-9DE2-26F5492224B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328671" y="4346287"/>
            <a:ext cx="5925184" cy="4844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138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kumimoji="1" lang="ja-JP" altLang="en-US"/>
              <a:t>マスター 日付の書式設定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E33A7192-4350-4A2F-ADFB-A056292E695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65156" y="5816600"/>
            <a:ext cx="2940844" cy="1041400"/>
          </a:xfrm>
          <a:prstGeom prst="rect">
            <a:avLst/>
          </a:prstGeom>
        </p:spPr>
      </p:pic>
      <p:pic>
        <p:nvPicPr>
          <p:cNvPr id="6" name="図 5" descr="図形 が含まれている画像&#10;&#10;自動的に生成された説明">
            <a:extLst>
              <a:ext uri="{FF2B5EF4-FFF2-40B4-BE49-F238E27FC236}">
                <a16:creationId xmlns:a16="http://schemas.microsoft.com/office/drawing/2014/main" id="{59C3BA0C-03A5-4580-BAF7-8E0DC1E66A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458"/>
          <a:stretch/>
        </p:blipFill>
        <p:spPr>
          <a:xfrm>
            <a:off x="0" y="0"/>
            <a:ext cx="30255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6388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93E8DA74-C58C-B54D-8934-2C49C04D7F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1731" y="6172200"/>
            <a:ext cx="2404269" cy="685800"/>
          </a:xfrm>
          <a:prstGeom prst="rect">
            <a:avLst/>
          </a:prstGeom>
        </p:spPr>
      </p:pic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7CA299BA-BE4E-48C9-B912-FDDFEF57B9B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3501" y="2707200"/>
            <a:ext cx="6155983" cy="82391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763" b="1" i="0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ja-JP" altLang="en-US"/>
              <a:t>マスター タイトルの書式設定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AFE3834D-783B-4E2B-BDF9-6FB6C699609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3500" y="3695646"/>
            <a:ext cx="4190702" cy="6659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511D796F-7669-40CB-A8D7-3723538B1359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3500" y="1746001"/>
            <a:ext cx="2588716" cy="10460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7719" b="1" i="0">
                <a:solidFill>
                  <a:srgbClr val="00AA40"/>
                </a:solidFill>
                <a:latin typeface="Yu Gothic" panose="020B0400000000000000" pitchFamily="34" charset="-128"/>
                <a:ea typeface="Yu Gothic" panose="020B0400000000000000" pitchFamily="34" charset="-128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en-US" altLang="ja-JP"/>
              <a:t>01</a:t>
            </a:r>
            <a:endParaRPr kumimoji="1" lang="ja-JP" altLang="en-US"/>
          </a:p>
        </p:txBody>
      </p:sp>
      <p:pic>
        <p:nvPicPr>
          <p:cNvPr id="6" name="図 5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C4C3C36B-6C53-4A32-87F7-A97D54E940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986" r="64375"/>
          <a:stretch/>
        </p:blipFill>
        <p:spPr>
          <a:xfrm>
            <a:off x="0" y="5416824"/>
            <a:ext cx="3529013" cy="1441176"/>
          </a:xfrm>
          <a:prstGeom prst="rect">
            <a:avLst/>
          </a:prstGeom>
        </p:spPr>
      </p:pic>
      <p:pic>
        <p:nvPicPr>
          <p:cNvPr id="11" name="図 10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326D4D52-748B-48EE-BEF8-8BE33A45D4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777" b="14667"/>
          <a:stretch/>
        </p:blipFill>
        <p:spPr>
          <a:xfrm>
            <a:off x="6614941" y="1"/>
            <a:ext cx="3291060" cy="5852161"/>
          </a:xfrm>
          <a:prstGeom prst="rect">
            <a:avLst/>
          </a:prstGeom>
        </p:spPr>
      </p:pic>
      <p:sp>
        <p:nvSpPr>
          <p:cNvPr id="9" name="スライド番号プレースホルダー 5">
            <a:extLst>
              <a:ext uri="{FF2B5EF4-FFF2-40B4-BE49-F238E27FC236}">
                <a16:creationId xmlns:a16="http://schemas.microsoft.com/office/drawing/2014/main" id="{8976D1DA-C1AD-4237-9897-3109751CBF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0622" y="6306925"/>
            <a:ext cx="2228850" cy="292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7EE0D01E-AFB5-4C09-B60E-697D555343FE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705872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2/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701512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メッセージライン入り(廣瀬追加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25C95CDE-E51C-4C4E-A585-50C87B5FFA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4051207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04" imgH="405" progId="TCLayout.ActiveDocument.1">
                  <p:embed/>
                </p:oleObj>
              </mc:Choice>
              <mc:Fallback>
                <p:oleObj name="think-cell スライド" r:id="rId3" imgW="404" imgH="405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25C95CDE-E51C-4C4E-A585-50C87B5FF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図 6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5F80FC6A-BD7D-3E47-9362-B83ECAEA18B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1731" y="6172200"/>
            <a:ext cx="2404269" cy="685800"/>
          </a:xfrm>
          <a:prstGeom prst="rect">
            <a:avLst/>
          </a:prstGeom>
        </p:spPr>
      </p:pic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91246525-C076-4E1C-85E8-9EF3CE1D5A4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3500" y="1003343"/>
            <a:ext cx="8649892" cy="939368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メッセージラインの書式設定</a:t>
            </a:r>
            <a:endParaRPr kumimoji="1" lang="en-US" altLang="ja-JP"/>
          </a:p>
          <a:p>
            <a:pPr lvl="0"/>
            <a:endParaRPr kumimoji="1" lang="ja-JP" altLang="en-US"/>
          </a:p>
        </p:txBody>
      </p:sp>
      <p:pic>
        <p:nvPicPr>
          <p:cNvPr id="5" name="図 4" descr="グラフ&#10;&#10;自動的に生成された説明">
            <a:extLst>
              <a:ext uri="{FF2B5EF4-FFF2-40B4-BE49-F238E27FC236}">
                <a16:creationId xmlns:a16="http://schemas.microsoft.com/office/drawing/2014/main" id="{C009A5C7-364F-45AC-80A3-F3EA5AEF88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7052"/>
          <a:stretch/>
        </p:blipFill>
        <p:spPr>
          <a:xfrm>
            <a:off x="0" y="0"/>
            <a:ext cx="9906000" cy="202192"/>
          </a:xfrm>
          <a:prstGeom prst="rect">
            <a:avLst/>
          </a:prstGeom>
        </p:spPr>
      </p:pic>
      <p:pic>
        <p:nvPicPr>
          <p:cNvPr id="13" name="図 12" descr="グラフ&#10;&#10;自動的に生成された説明">
            <a:extLst>
              <a:ext uri="{FF2B5EF4-FFF2-40B4-BE49-F238E27FC236}">
                <a16:creationId xmlns:a16="http://schemas.microsoft.com/office/drawing/2014/main" id="{969EC03E-B87D-41C0-9FF9-7068315E41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536" r="30870"/>
          <a:stretch/>
        </p:blipFill>
        <p:spPr>
          <a:xfrm>
            <a:off x="1" y="6689036"/>
            <a:ext cx="6848061" cy="168965"/>
          </a:xfrm>
          <a:prstGeom prst="rect">
            <a:avLst/>
          </a:prstGeom>
        </p:spPr>
      </p:pic>
      <p:sp>
        <p:nvSpPr>
          <p:cNvPr id="8" name="スライド番号プレースホルダー 5">
            <a:extLst>
              <a:ext uri="{FF2B5EF4-FFF2-40B4-BE49-F238E27FC236}">
                <a16:creationId xmlns:a16="http://schemas.microsoft.com/office/drawing/2014/main" id="{F4A1A8FA-2F19-40DC-B730-7306D6A9DA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0622" y="6306925"/>
            <a:ext cx="2228850" cy="292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7EE0D01E-AFB5-4C09-B60E-697D555343FE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テキスト プレースホルダー 2">
            <a:extLst>
              <a:ext uri="{FF2B5EF4-FFF2-40B4-BE49-F238E27FC236}">
                <a16:creationId xmlns:a16="http://schemas.microsoft.com/office/drawing/2014/main" id="{E737E650-16C9-4F79-837F-525F87929E39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643500" y="2082816"/>
            <a:ext cx="8649892" cy="39034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366D6A8B-591D-477C-A73E-3B2C31E767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500" y="216087"/>
            <a:ext cx="8649892" cy="688900"/>
          </a:xfrm>
          <a:prstGeom prst="rect">
            <a:avLst/>
          </a:prstGeom>
        </p:spPr>
        <p:txBody>
          <a:bodyPr vert="horz" lIns="36000" tIns="36000" rIns="36000" bIns="36000" rtlCol="0" anchor="ctr">
            <a:noAutofit/>
          </a:bodyPr>
          <a:lstStyle>
            <a:lvl1pPr>
              <a:defRPr lang="ja-JP" altLang="en-US" sz="1950" b="1" dirty="0">
                <a:solidFill>
                  <a:schemeClr val="bg2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5383681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  <a:prstGeom prst="rect">
            <a:avLst/>
          </a:prstGeo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6" name="スライド番号プレースホルダー 1">
            <a:extLst>
              <a:ext uri="{FF2B5EF4-FFF2-40B4-BE49-F238E27FC236}">
                <a16:creationId xmlns:a16="http://schemas.microsoft.com/office/drawing/2014/main" id="{B3A5F680-2D2C-4FE7-A027-1B1263694F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ja-JP" altLang="en-US" sz="731" smtClean="0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pPr algn="r"/>
            <a:fld id="{48C89B1B-5162-48FA-8BAD-B834536DFEC3}" type="slidenum">
              <a:rPr lang="en-US" altLang="ja-JP" smtClean="0"/>
              <a:pPr algn="r"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7549462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テキスト プレースホルダー 8">
            <a:extLst>
              <a:ext uri="{FF2B5EF4-FFF2-40B4-BE49-F238E27FC236}">
                <a16:creationId xmlns:a16="http://schemas.microsoft.com/office/drawing/2014/main" id="{B88233FD-50A6-4926-BCA6-26A498F3E1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3973" y="874210"/>
            <a:ext cx="8482500" cy="339837"/>
          </a:xfrm>
        </p:spPr>
        <p:txBody>
          <a:bodyPr wrap="square">
            <a:spAutoFit/>
          </a:bodyPr>
          <a:lstStyle>
            <a:lvl1pPr marL="0" indent="0">
              <a:buNone/>
              <a:defRPr sz="1625"/>
            </a:lvl1pPr>
            <a:lvl2pPr>
              <a:defRPr sz="1219"/>
            </a:lvl2pPr>
            <a:lvl3pPr>
              <a:defRPr sz="1219"/>
            </a:lvl3pPr>
            <a:lvl4pPr>
              <a:defRPr sz="1219"/>
            </a:lvl4pPr>
            <a:lvl5pPr>
              <a:defRPr sz="1219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6" name="スライド番号プレースホルダー 1">
            <a:extLst>
              <a:ext uri="{FF2B5EF4-FFF2-40B4-BE49-F238E27FC236}">
                <a16:creationId xmlns:a16="http://schemas.microsoft.com/office/drawing/2014/main" id="{ED8CCE63-9FB6-4AAB-BAF7-16CA6BF0DD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ja-JP" altLang="en-US" sz="731" smtClean="0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pPr algn="r"/>
            <a:fld id="{48C89B1B-5162-48FA-8BAD-B834536DFEC3}" type="slidenum">
              <a:rPr lang="en-US" altLang="ja-JP" smtClean="0"/>
              <a:pPr algn="r"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2785154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2/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275900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2/6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18628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2/6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797503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2/6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95506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2/6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346540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2/6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939408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/>
              <a:t>アイコンをクリックして図を追加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2/6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090098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2B0DE8-405E-43F1-BDE6-E677B4B727A3}" type="datetimeFigureOut">
              <a:rPr kumimoji="1" lang="ja-JP" altLang="en-US" smtClean="0"/>
              <a:t>2026/2/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8473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DFD0DE8E-B5B5-405A-87F0-F785782BAB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15064698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73" imgH="476" progId="TCLayout.ActiveDocument.1">
                  <p:embed/>
                </p:oleObj>
              </mc:Choice>
              <mc:Fallback>
                <p:oleObj name="think-cell スライド" r:id="rId14" imgW="473" imgH="476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DFD0DE8E-B5B5-405A-87F0-F785782BAB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4359" y="210828"/>
            <a:ext cx="8042916" cy="5832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0488" tIns="44450" rIns="90488" bIns="4445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タイトルの書式設定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2950" y="1447800"/>
            <a:ext cx="8420100" cy="411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40CF62AA-8790-48B4-AD16-879979CC4B0D}"/>
              </a:ext>
            </a:extLst>
          </p:cNvPr>
          <p:cNvSpPr/>
          <p:nvPr userDrawn="1"/>
        </p:nvSpPr>
        <p:spPr>
          <a:xfrm>
            <a:off x="238249" y="148200"/>
            <a:ext cx="257959" cy="68480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463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D Digi Kyokasho NK-R" panose="02020400000000000000" pitchFamily="18" charset="-128"/>
              <a:ea typeface="UD Digi Kyokasho NK-R" panose="02020400000000000000" pitchFamily="18" charset="-128"/>
              <a:cs typeface="+mn-cs"/>
            </a:endParaRP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AB4ABE57-EDBD-4894-BF8C-F611A99FFD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46799" y="6355144"/>
            <a:ext cx="355826" cy="36753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r">
              <a:defRPr sz="894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fld id="{48C89B1B-5162-48FA-8BAD-B834536DFEC3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" name="テキスト ボックス 2"/>
          <p:cNvSpPr txBox="1"/>
          <p:nvPr userDrawn="1"/>
        </p:nvSpPr>
        <p:spPr>
          <a:xfrm>
            <a:off x="140769" y="6535554"/>
            <a:ext cx="1387184" cy="26161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kumimoji="1" lang="en-US" altLang="ja-JP" sz="894">
                <a:solidFill>
                  <a:schemeClr val="bg2"/>
                </a:solidFill>
                <a:latin typeface="+mn-ea"/>
                <a:ea typeface="+mn-ea"/>
              </a:rPr>
              <a:t>PwC</a:t>
            </a:r>
            <a:r>
              <a:rPr kumimoji="1" lang="ja-JP" altLang="en-US" sz="894">
                <a:solidFill>
                  <a:schemeClr val="bg2"/>
                </a:solidFill>
                <a:latin typeface="+mn-ea"/>
                <a:ea typeface="+mn-ea"/>
              </a:rPr>
              <a:t>＋</a:t>
            </a:r>
            <a:r>
              <a:rPr kumimoji="1" lang="en-US" altLang="ja-JP" sz="894">
                <a:solidFill>
                  <a:schemeClr val="bg2"/>
                </a:solidFill>
                <a:latin typeface="+mn-ea"/>
                <a:ea typeface="+mn-ea"/>
              </a:rPr>
              <a:t>DX</a:t>
            </a:r>
            <a:r>
              <a:rPr kumimoji="1" lang="ja-JP" altLang="en-US" sz="894">
                <a:solidFill>
                  <a:schemeClr val="bg2"/>
                </a:solidFill>
                <a:latin typeface="+mn-ea"/>
                <a:ea typeface="+mn-ea"/>
              </a:rPr>
              <a:t>本部 </a:t>
            </a:r>
            <a:r>
              <a:rPr kumimoji="1" lang="en-US" altLang="ja-JP" sz="894">
                <a:solidFill>
                  <a:schemeClr val="bg2"/>
                </a:solidFill>
                <a:latin typeface="+mn-ea"/>
                <a:ea typeface="+mn-ea"/>
              </a:rPr>
              <a:t>BPR</a:t>
            </a:r>
            <a:r>
              <a:rPr kumimoji="1" lang="ja-JP" altLang="en-US" sz="894">
                <a:solidFill>
                  <a:schemeClr val="bg2"/>
                </a:solidFill>
                <a:latin typeface="+mn-ea"/>
                <a:ea typeface="+mn-ea"/>
              </a:rPr>
              <a:t>部</a:t>
            </a:r>
          </a:p>
        </p:txBody>
      </p:sp>
    </p:spTree>
    <p:extLst>
      <p:ext uri="{BB962C8B-B14F-4D97-AF65-F5344CB8AC3E}">
        <p14:creationId xmlns:p14="http://schemas.microsoft.com/office/powerpoint/2010/main" val="425756310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4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600" b="1">
          <a:solidFill>
            <a:schemeClr val="bg2"/>
          </a:solidFill>
          <a:effectLst/>
          <a:latin typeface="UD デジタル 教科書体 NK-R" panose="02020400000000000000" pitchFamily="18" charset="-128"/>
          <a:ea typeface="UD デジタル 教科書体 NK-R" panose="02020400000000000000" pitchFamily="18" charset="-128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5pPr>
      <a:lvl6pPr marL="371475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6pPr>
      <a:lvl7pPr marL="742950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7pPr>
      <a:lvl8pPr marL="1114425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8pPr>
      <a:lvl9pPr marL="1485900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9pPr>
    </p:titleStyle>
    <p:bodyStyle>
      <a:lvl1pPr marL="278606" indent="-278606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950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  <a:cs typeface="+mn-cs"/>
        </a:defRPr>
      </a:lvl1pPr>
      <a:lvl2pPr marL="603647" indent="-232172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625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2pPr>
      <a:lvl3pPr marL="92868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3pPr>
      <a:lvl4pPr marL="1300163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300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4pPr>
      <a:lvl5pPr marL="167163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5pPr>
      <a:lvl6pPr marL="2043113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6pPr>
      <a:lvl7pPr marL="241458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7pPr>
      <a:lvl8pPr marL="2786063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8pPr>
      <a:lvl9pPr marL="315753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5" Type="http://schemas.openxmlformats.org/officeDocument/2006/relationships/hyperlink" Target="https://www.vr-view.jp/nissay/tenjin-brick-cross/final/" TargetMode="External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png"/><Relationship Id="rId4" Type="http://schemas.openxmlformats.org/officeDocument/2006/relationships/hyperlink" Target="https://www.vr-view.jp/nissay/tenjin-brick-cross/final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F18471BA-B588-AE31-BB93-8BC65EBD2C03}"/>
              </a:ext>
            </a:extLst>
          </p:cNvPr>
          <p:cNvSpPr/>
          <p:nvPr/>
        </p:nvSpPr>
        <p:spPr>
          <a:xfrm>
            <a:off x="219000" y="454967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C6B23B0C-5E52-A514-AC00-FE57332C6604}"/>
              </a:ext>
            </a:extLst>
          </p:cNvPr>
          <p:cNvSpPr/>
          <p:nvPr/>
        </p:nvSpPr>
        <p:spPr>
          <a:xfrm>
            <a:off x="219000" y="6710101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2D8E329A-074A-9343-F8E3-06171697A1D7}"/>
              </a:ext>
            </a:extLst>
          </p:cNvPr>
          <p:cNvSpPr/>
          <p:nvPr/>
        </p:nvSpPr>
        <p:spPr>
          <a:xfrm>
            <a:off x="219000" y="1325414"/>
            <a:ext cx="2211815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外観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1D755C5A-C305-8356-8D2B-8E0BB6EAC78D}"/>
              </a:ext>
            </a:extLst>
          </p:cNvPr>
          <p:cNvSpPr/>
          <p:nvPr/>
        </p:nvSpPr>
        <p:spPr>
          <a:xfrm>
            <a:off x="2535225" y="1325414"/>
            <a:ext cx="2211815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アクセス</a:t>
            </a:r>
          </a:p>
        </p:txBody>
      </p:sp>
      <p:sp>
        <p:nvSpPr>
          <p:cNvPr id="129" name="正方形/長方形 128">
            <a:extLst>
              <a:ext uri="{FF2B5EF4-FFF2-40B4-BE49-F238E27FC236}">
                <a16:creationId xmlns:a16="http://schemas.microsoft.com/office/drawing/2014/main" id="{771837FA-991F-28F8-3FFC-672C53CD14DC}"/>
              </a:ext>
            </a:extLst>
          </p:cNvPr>
          <p:cNvSpPr/>
          <p:nvPr/>
        </p:nvSpPr>
        <p:spPr>
          <a:xfrm>
            <a:off x="5670918" y="713228"/>
            <a:ext cx="3132000" cy="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0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お問い合わせ先</a:t>
            </a:r>
          </a:p>
        </p:txBody>
      </p:sp>
      <p:sp>
        <p:nvSpPr>
          <p:cNvPr id="130" name="正方形/長方形 129">
            <a:extLst>
              <a:ext uri="{FF2B5EF4-FFF2-40B4-BE49-F238E27FC236}">
                <a16:creationId xmlns:a16="http://schemas.microsoft.com/office/drawing/2014/main" id="{C50AD04C-AA9B-6ED8-B8A0-32CD70030724}"/>
              </a:ext>
            </a:extLst>
          </p:cNvPr>
          <p:cNvSpPr/>
          <p:nvPr/>
        </p:nvSpPr>
        <p:spPr>
          <a:xfrm>
            <a:off x="5670918" y="713011"/>
            <a:ext cx="3132000" cy="3539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kumimoji="1" lang="ja-JP" altLang="en-US" sz="9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株式会社　大林組</a:t>
            </a:r>
            <a:r>
              <a:rPr kumimoji="1" lang="en-US" altLang="ja-JP" sz="6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		</a:t>
            </a:r>
          </a:p>
          <a:p>
            <a:r>
              <a:rPr kumimoji="1" lang="ja-JP" altLang="en-US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開発事業本部　開発推進部</a:t>
            </a:r>
            <a:endParaRPr kumimoji="1" lang="en-US" altLang="ja-JP" sz="8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31" name="正方形/長方形 130">
            <a:extLst>
              <a:ext uri="{FF2B5EF4-FFF2-40B4-BE49-F238E27FC236}">
                <a16:creationId xmlns:a16="http://schemas.microsoft.com/office/drawing/2014/main" id="{98C28FE7-3109-612F-D1F0-FD7F479E4A81}"/>
              </a:ext>
            </a:extLst>
          </p:cNvPr>
          <p:cNvSpPr/>
          <p:nvPr/>
        </p:nvSpPr>
        <p:spPr>
          <a:xfrm>
            <a:off x="7663679" y="728400"/>
            <a:ext cx="1139240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algn="r"/>
            <a:r>
              <a:rPr kumimoji="1" lang="en-US" altLang="ja-JP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TEL 03 (5769) 1223</a:t>
            </a:r>
          </a:p>
          <a:p>
            <a:pPr algn="r"/>
            <a:r>
              <a:rPr kumimoji="1" lang="en-US" altLang="ja-JP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FAX 03 (5769) 1953</a:t>
            </a:r>
          </a:p>
        </p:txBody>
      </p:sp>
      <p:graphicFrame>
        <p:nvGraphicFramePr>
          <p:cNvPr id="132" name="表 132">
            <a:extLst>
              <a:ext uri="{FF2B5EF4-FFF2-40B4-BE49-F238E27FC236}">
                <a16:creationId xmlns:a16="http://schemas.microsoft.com/office/drawing/2014/main" id="{1D82F536-F9AB-C988-889A-D93AC0235D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8469060"/>
              </p:ext>
            </p:extLst>
          </p:nvPr>
        </p:nvGraphicFramePr>
        <p:xfrm>
          <a:off x="2530143" y="3229076"/>
          <a:ext cx="2210401" cy="7335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3391">
                  <a:extLst>
                    <a:ext uri="{9D8B030D-6E8A-4147-A177-3AD203B41FA5}">
                      <a16:colId xmlns:a16="http://schemas.microsoft.com/office/drawing/2014/main" val="4245916697"/>
                    </a:ext>
                  </a:extLst>
                </a:gridCol>
                <a:gridCol w="1607010">
                  <a:extLst>
                    <a:ext uri="{9D8B030D-6E8A-4147-A177-3AD203B41FA5}">
                      <a16:colId xmlns:a16="http://schemas.microsoft.com/office/drawing/2014/main" val="217138327"/>
                    </a:ext>
                  </a:extLst>
                </a:gridCol>
              </a:tblGrid>
              <a:tr h="180000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所在地</a:t>
                      </a:r>
                    </a:p>
                  </a:txBody>
                  <a:tcPr marL="36000" marR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ja-JP" altLang="en-US" sz="7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福岡県福岡市中央区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578585"/>
                  </a:ext>
                </a:extLst>
              </a:tr>
              <a:tr h="180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天神一丁目</a:t>
                      </a:r>
                      <a:r>
                        <a:rPr kumimoji="1" lang="en-US" altLang="ja-JP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4</a:t>
                      </a:r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番</a:t>
                      </a:r>
                      <a:r>
                        <a:rPr kumimoji="1" lang="en-US" altLang="ja-JP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8</a:t>
                      </a:r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号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153822"/>
                  </a:ext>
                </a:extLst>
              </a:tr>
              <a:tr h="37359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7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交通アクセス</a:t>
                      </a:r>
                    </a:p>
                  </a:txBody>
                  <a:tcPr marL="36000" marR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地下鉄空港線「天神」駅地下直結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169363"/>
                  </a:ext>
                </a:extLst>
              </a:tr>
            </a:tbl>
          </a:graphicData>
        </a:graphic>
      </p:graphicFrame>
      <p:pic>
        <p:nvPicPr>
          <p:cNvPr id="1030" name="Picture 6" descr="意匠設計(株式会社大林組)千葉県千葉市中央区の求人・転職・募集と中途採用丨建築・建設業界の転職エージェント・求人情報なら建築転職">
            <a:extLst>
              <a:ext uri="{FF2B5EF4-FFF2-40B4-BE49-F238E27FC236}">
                <a16:creationId xmlns:a16="http://schemas.microsoft.com/office/drawing/2014/main" id="{5C917FAE-1F2D-00DB-2382-B7817C57A8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9225" y="586581"/>
            <a:ext cx="510375" cy="652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BC33FB88-D072-F800-65FF-D0544D830B7F}"/>
              </a:ext>
            </a:extLst>
          </p:cNvPr>
          <p:cNvSpPr/>
          <p:nvPr/>
        </p:nvSpPr>
        <p:spPr>
          <a:xfrm>
            <a:off x="219000" y="4295951"/>
            <a:ext cx="4529522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物件概要</a:t>
            </a:r>
          </a:p>
        </p:txBody>
      </p:sp>
      <p:graphicFrame>
        <p:nvGraphicFramePr>
          <p:cNvPr id="10" name="表 132">
            <a:extLst>
              <a:ext uri="{FF2B5EF4-FFF2-40B4-BE49-F238E27FC236}">
                <a16:creationId xmlns:a16="http://schemas.microsoft.com/office/drawing/2014/main" id="{07C5E8E9-9B2C-3432-4A6A-C81BE31F7A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2787516"/>
              </p:ext>
            </p:extLst>
          </p:nvPr>
        </p:nvGraphicFramePr>
        <p:xfrm>
          <a:off x="219000" y="4423922"/>
          <a:ext cx="2660725" cy="21314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6991">
                  <a:extLst>
                    <a:ext uri="{9D8B030D-6E8A-4147-A177-3AD203B41FA5}">
                      <a16:colId xmlns:a16="http://schemas.microsoft.com/office/drawing/2014/main" val="4245916697"/>
                    </a:ext>
                  </a:extLst>
                </a:gridCol>
                <a:gridCol w="2053734">
                  <a:extLst>
                    <a:ext uri="{9D8B030D-6E8A-4147-A177-3AD203B41FA5}">
                      <a16:colId xmlns:a16="http://schemas.microsoft.com/office/drawing/2014/main" val="217138327"/>
                    </a:ext>
                  </a:extLst>
                </a:gridCol>
              </a:tblGrid>
              <a:tr h="269998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規模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B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２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F/18F</a:t>
                      </a:r>
                      <a:endParaRPr kumimoji="1" lang="ja-JP" altLang="en-US" sz="9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578585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延床面積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1,207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坪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153822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竣工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025/04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169363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構造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S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・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RC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・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SRC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造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3876437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施工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大林組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8939514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貸主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日本生命保険・大林組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711573"/>
                  </a:ext>
                </a:extLst>
              </a:tr>
              <a:tr h="752365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その他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天井高：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,800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㎜（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OA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：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00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㎜）</a:t>
                      </a:r>
                      <a:endParaRPr kumimoji="1" lang="en-US" altLang="ja-JP" sz="9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駐車場：機械式７３台</a:t>
                      </a:r>
                      <a:endParaRPr kumimoji="1" lang="en-US" altLang="ja-JP" sz="9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床耐荷重：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500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㎏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/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㎡（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HDZ 1,000gk/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㎡）</a:t>
                      </a:r>
                      <a:endParaRPr kumimoji="1" lang="en-US" altLang="ja-JP" sz="9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260842"/>
                  </a:ext>
                </a:extLst>
              </a:tr>
            </a:tbl>
          </a:graphicData>
        </a:graphic>
      </p:graphicFrame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362450FA-A9FD-5C97-6A40-588DDED5A857}"/>
              </a:ext>
            </a:extLst>
          </p:cNvPr>
          <p:cNvSpPr/>
          <p:nvPr/>
        </p:nvSpPr>
        <p:spPr>
          <a:xfrm>
            <a:off x="5151000" y="1325414"/>
            <a:ext cx="4536000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空室状況</a:t>
            </a:r>
          </a:p>
        </p:txBody>
      </p:sp>
      <p:graphicFrame>
        <p:nvGraphicFramePr>
          <p:cNvPr id="20" name="表 132">
            <a:extLst>
              <a:ext uri="{FF2B5EF4-FFF2-40B4-BE49-F238E27FC236}">
                <a16:creationId xmlns:a16="http://schemas.microsoft.com/office/drawing/2014/main" id="{9463F64F-5131-0F97-6DF7-303D7B601B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5370178"/>
              </p:ext>
            </p:extLst>
          </p:nvPr>
        </p:nvGraphicFramePr>
        <p:xfrm>
          <a:off x="5220408" y="1418509"/>
          <a:ext cx="4241457" cy="24507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3735">
                  <a:extLst>
                    <a:ext uri="{9D8B030D-6E8A-4147-A177-3AD203B41FA5}">
                      <a16:colId xmlns:a16="http://schemas.microsoft.com/office/drawing/2014/main" val="4245916697"/>
                    </a:ext>
                  </a:extLst>
                </a:gridCol>
                <a:gridCol w="686559">
                  <a:extLst>
                    <a:ext uri="{9D8B030D-6E8A-4147-A177-3AD203B41FA5}">
                      <a16:colId xmlns:a16="http://schemas.microsoft.com/office/drawing/2014/main" val="217138327"/>
                    </a:ext>
                  </a:extLst>
                </a:gridCol>
                <a:gridCol w="538478">
                  <a:extLst>
                    <a:ext uri="{9D8B030D-6E8A-4147-A177-3AD203B41FA5}">
                      <a16:colId xmlns:a16="http://schemas.microsoft.com/office/drawing/2014/main" val="502388552"/>
                    </a:ext>
                  </a:extLst>
                </a:gridCol>
                <a:gridCol w="632712">
                  <a:extLst>
                    <a:ext uri="{9D8B030D-6E8A-4147-A177-3AD203B41FA5}">
                      <a16:colId xmlns:a16="http://schemas.microsoft.com/office/drawing/2014/main" val="1416647194"/>
                    </a:ext>
                  </a:extLst>
                </a:gridCol>
                <a:gridCol w="467411">
                  <a:extLst>
                    <a:ext uri="{9D8B030D-6E8A-4147-A177-3AD203B41FA5}">
                      <a16:colId xmlns:a16="http://schemas.microsoft.com/office/drawing/2014/main" val="2584319203"/>
                    </a:ext>
                  </a:extLst>
                </a:gridCol>
                <a:gridCol w="1432562">
                  <a:extLst>
                    <a:ext uri="{9D8B030D-6E8A-4147-A177-3AD203B41FA5}">
                      <a16:colId xmlns:a16="http://schemas.microsoft.com/office/drawing/2014/main" val="3765219893"/>
                    </a:ext>
                  </a:extLst>
                </a:gridCol>
              </a:tblGrid>
              <a:tr h="172329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フロア</a:t>
                      </a:r>
                    </a:p>
                  </a:txBody>
                  <a:tcPr marL="0" marR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10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用途</a:t>
                      </a:r>
                      <a:endParaRPr kumimoji="1" lang="en-US" altLang="ja-JP" sz="1000" b="1" dirty="0">
                        <a:solidFill>
                          <a:schemeClr val="bg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面積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 b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10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入居時期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10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備考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578585"/>
                  </a:ext>
                </a:extLst>
              </a:tr>
              <a:tr h="150125">
                <a:tc vMerge="1">
                  <a:txBody>
                    <a:bodyPr/>
                    <a:lstStyle/>
                    <a:p>
                      <a:pPr algn="dist"/>
                      <a:endParaRPr kumimoji="1" lang="ja-JP" altLang="en-US" sz="800">
                        <a:solidFill>
                          <a:schemeClr val="bg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72000" marR="72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坪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en-US" altLang="ja-JP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m2</a:t>
                      </a:r>
                      <a:endParaRPr kumimoji="1" lang="ja-JP" altLang="en-US" sz="900" b="1" dirty="0">
                        <a:solidFill>
                          <a:schemeClr val="bg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153822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</a:t>
                      </a: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店舗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32.73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08.21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169363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２</a:t>
                      </a:r>
                      <a:endParaRPr kumimoji="1" lang="en-US" altLang="ja-JP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店舗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0.41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67.5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5784603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０</a:t>
                      </a: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78.85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60.71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5553427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１</a:t>
                      </a: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46.21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483.36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4696620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５</a:t>
                      </a: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51.51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70.31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753485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６</a:t>
                      </a: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334.72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,106.54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4623918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７</a:t>
                      </a:r>
                      <a:endParaRPr kumimoji="1" lang="en-US" altLang="ja-JP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334.72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,106.54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7151696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８</a:t>
                      </a: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334.72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,106.54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551155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0092256"/>
                  </a:ext>
                </a:extLst>
              </a:tr>
            </a:tbl>
          </a:graphicData>
        </a:graphic>
      </p:graphicFrame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3718A336-AC46-716D-72EA-69A839F8D312}"/>
              </a:ext>
            </a:extLst>
          </p:cNvPr>
          <p:cNvSpPr/>
          <p:nvPr/>
        </p:nvSpPr>
        <p:spPr>
          <a:xfrm>
            <a:off x="219000" y="125039"/>
            <a:ext cx="1679469" cy="21687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2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■</a:t>
            </a:r>
            <a:r>
              <a:rPr kumimoji="1" lang="ja-JP" altLang="en-US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福岡県</a:t>
            </a:r>
            <a:r>
              <a:rPr kumimoji="1" lang="ja-JP" altLang="en-US" sz="12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■</a:t>
            </a:r>
            <a:r>
              <a:rPr kumimoji="1" lang="ja-JP" altLang="en-US" sz="105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福岡市中央区</a:t>
            </a:r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" name="吹き出し: 四角形 1">
            <a:extLst>
              <a:ext uri="{FF2B5EF4-FFF2-40B4-BE49-F238E27FC236}">
                <a16:creationId xmlns:a16="http://schemas.microsoft.com/office/drawing/2014/main" id="{CB8DA6FB-F239-937B-5850-A1297DFF8827}"/>
              </a:ext>
            </a:extLst>
          </p:cNvPr>
          <p:cNvSpPr/>
          <p:nvPr/>
        </p:nvSpPr>
        <p:spPr>
          <a:xfrm>
            <a:off x="-1469144" y="463522"/>
            <a:ext cx="1150111" cy="428270"/>
          </a:xfrm>
          <a:prstGeom prst="wedgeRectCallout">
            <a:avLst>
              <a:gd name="adj1" fmla="val 71808"/>
              <a:gd name="adj2" fmla="val 3650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レイアウト</a:t>
            </a:r>
            <a:endParaRPr lang="en-US" altLang="ja-JP" sz="16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F6AB47E0-7679-69BE-8F08-9B4B00DE2634}"/>
              </a:ext>
            </a:extLst>
          </p:cNvPr>
          <p:cNvSpPr/>
          <p:nvPr/>
        </p:nvSpPr>
        <p:spPr>
          <a:xfrm>
            <a:off x="176216" y="571821"/>
            <a:ext cx="5175959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r>
              <a:rPr kumimoji="1" lang="ja-JP" altLang="en-US" sz="2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天神ブリッククロス　北棟</a:t>
            </a:r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975C8CB6-B319-00CF-DD65-A27AC5184C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4137" y="1392456"/>
            <a:ext cx="1756560" cy="2664807"/>
          </a:xfrm>
          <a:prstGeom prst="rect">
            <a:avLst/>
          </a:prstGeom>
        </p:spPr>
      </p:pic>
      <p:pic>
        <p:nvPicPr>
          <p:cNvPr id="14" name="図 13">
            <a:extLst>
              <a:ext uri="{FF2B5EF4-FFF2-40B4-BE49-F238E27FC236}">
                <a16:creationId xmlns:a16="http://schemas.microsoft.com/office/drawing/2014/main" id="{E33B4C86-D816-D00F-452F-19E3501B08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42657" y="1392456"/>
            <a:ext cx="1985371" cy="1771611"/>
          </a:xfrm>
          <a:prstGeom prst="rect">
            <a:avLst/>
          </a:prstGeom>
        </p:spPr>
      </p:pic>
      <p:pic>
        <p:nvPicPr>
          <p:cNvPr id="12" name="図 11">
            <a:hlinkClick r:id="rId5"/>
            <a:extLst>
              <a:ext uri="{FF2B5EF4-FFF2-40B4-BE49-F238E27FC236}">
                <a16:creationId xmlns:a16="http://schemas.microsoft.com/office/drawing/2014/main" id="{5A63CE01-2D42-51D1-8FB9-B8E666D973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20408" y="4715282"/>
            <a:ext cx="4312951" cy="1278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0354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DAC4530D-D50F-1372-74C5-958D6FBF5BEE}"/>
              </a:ext>
            </a:extLst>
          </p:cNvPr>
          <p:cNvSpPr/>
          <p:nvPr/>
        </p:nvSpPr>
        <p:spPr>
          <a:xfrm>
            <a:off x="219000" y="125039"/>
            <a:ext cx="1766554" cy="21687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■福岡県■福岡市中央区</a:t>
            </a: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F18471BA-B588-AE31-BB93-8BC65EBD2C03}"/>
              </a:ext>
            </a:extLst>
          </p:cNvPr>
          <p:cNvSpPr/>
          <p:nvPr/>
        </p:nvSpPr>
        <p:spPr>
          <a:xfrm>
            <a:off x="219000" y="454967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C6B23B0C-5E52-A514-AC00-FE57332C6604}"/>
              </a:ext>
            </a:extLst>
          </p:cNvPr>
          <p:cNvSpPr/>
          <p:nvPr/>
        </p:nvSpPr>
        <p:spPr>
          <a:xfrm>
            <a:off x="219000" y="6710101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129" name="正方形/長方形 128">
            <a:extLst>
              <a:ext uri="{FF2B5EF4-FFF2-40B4-BE49-F238E27FC236}">
                <a16:creationId xmlns:a16="http://schemas.microsoft.com/office/drawing/2014/main" id="{771837FA-991F-28F8-3FFC-672C53CD14DC}"/>
              </a:ext>
            </a:extLst>
          </p:cNvPr>
          <p:cNvSpPr/>
          <p:nvPr/>
        </p:nvSpPr>
        <p:spPr>
          <a:xfrm>
            <a:off x="5670918" y="713228"/>
            <a:ext cx="3132000" cy="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お問い合わせ先</a:t>
            </a:r>
          </a:p>
        </p:txBody>
      </p:sp>
      <p:sp>
        <p:nvSpPr>
          <p:cNvPr id="130" name="正方形/長方形 129">
            <a:extLst>
              <a:ext uri="{FF2B5EF4-FFF2-40B4-BE49-F238E27FC236}">
                <a16:creationId xmlns:a16="http://schemas.microsoft.com/office/drawing/2014/main" id="{C50AD04C-AA9B-6ED8-B8A0-32CD70030724}"/>
              </a:ext>
            </a:extLst>
          </p:cNvPr>
          <p:cNvSpPr/>
          <p:nvPr/>
        </p:nvSpPr>
        <p:spPr>
          <a:xfrm>
            <a:off x="5670918" y="713011"/>
            <a:ext cx="3132000" cy="3539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株式会社　大林組</a:t>
            </a:r>
            <a:r>
              <a:rPr kumimoji="1" lang="en-US" altLang="ja-JP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		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開発事業本部　開発推進部</a:t>
            </a:r>
            <a:endParaRPr kumimoji="1" lang="en-US" altLang="ja-JP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131" name="正方形/長方形 130">
            <a:extLst>
              <a:ext uri="{FF2B5EF4-FFF2-40B4-BE49-F238E27FC236}">
                <a16:creationId xmlns:a16="http://schemas.microsoft.com/office/drawing/2014/main" id="{98C28FE7-3109-612F-D1F0-FD7F479E4A81}"/>
              </a:ext>
            </a:extLst>
          </p:cNvPr>
          <p:cNvSpPr/>
          <p:nvPr/>
        </p:nvSpPr>
        <p:spPr>
          <a:xfrm>
            <a:off x="7663679" y="728400"/>
            <a:ext cx="1139240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TEL 03 (5769) 1223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FAX 03 (5769) 1953</a:t>
            </a:r>
          </a:p>
        </p:txBody>
      </p:sp>
      <p:pic>
        <p:nvPicPr>
          <p:cNvPr id="1030" name="Picture 6" descr="意匠設計(株式会社大林組)千葉県千葉市中央区の求人・転職・募集と中途採用丨建築・建設業界の転職エージェント・求人情報なら建築転職">
            <a:extLst>
              <a:ext uri="{FF2B5EF4-FFF2-40B4-BE49-F238E27FC236}">
                <a16:creationId xmlns:a16="http://schemas.microsoft.com/office/drawing/2014/main" id="{5C917FAE-1F2D-00DB-2382-B7817C57A8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9225" y="586581"/>
            <a:ext cx="510375" cy="652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8889D860-D342-A72E-3E09-ACD990CBB50C}"/>
              </a:ext>
            </a:extLst>
          </p:cNvPr>
          <p:cNvSpPr/>
          <p:nvPr/>
        </p:nvSpPr>
        <p:spPr>
          <a:xfrm>
            <a:off x="219000" y="1325414"/>
            <a:ext cx="9468000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フロア図面</a:t>
            </a:r>
          </a:p>
        </p:txBody>
      </p:sp>
      <p:sp>
        <p:nvSpPr>
          <p:cNvPr id="5" name="吹き出し: 四角形 4">
            <a:extLst>
              <a:ext uri="{FF2B5EF4-FFF2-40B4-BE49-F238E27FC236}">
                <a16:creationId xmlns:a16="http://schemas.microsoft.com/office/drawing/2014/main" id="{B0D0A455-EBCB-DE75-F309-2797E3BD5636}"/>
              </a:ext>
            </a:extLst>
          </p:cNvPr>
          <p:cNvSpPr/>
          <p:nvPr/>
        </p:nvSpPr>
        <p:spPr>
          <a:xfrm>
            <a:off x="-1469144" y="463522"/>
            <a:ext cx="1150111" cy="428270"/>
          </a:xfrm>
          <a:prstGeom prst="wedgeRectCallout">
            <a:avLst>
              <a:gd name="adj1" fmla="val 71808"/>
              <a:gd name="adj2" fmla="val 3650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レイアウト</a:t>
            </a:r>
            <a:endParaRPr kumimoji="0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9C15DC2D-2606-2CE1-2009-B4F19E57C441}"/>
              </a:ext>
            </a:extLst>
          </p:cNvPr>
          <p:cNvSpPr/>
          <p:nvPr/>
        </p:nvSpPr>
        <p:spPr>
          <a:xfrm>
            <a:off x="176216" y="571821"/>
            <a:ext cx="5175959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天神ブリッククロス　北棟</a:t>
            </a:r>
          </a:p>
        </p:txBody>
      </p:sp>
      <p:pic>
        <p:nvPicPr>
          <p:cNvPr id="7" name="図 6" descr="ダイアグラム, 設計図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31CF40EF-7169-CF62-D773-0A65E67DDF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2277" y="1887757"/>
            <a:ext cx="5410200" cy="4267200"/>
          </a:xfrm>
          <a:prstGeom prst="rect">
            <a:avLst/>
          </a:prstGeom>
        </p:spPr>
      </p:pic>
      <p:pic>
        <p:nvPicPr>
          <p:cNvPr id="4" name="図 3">
            <a:hlinkClick r:id="rId4"/>
            <a:extLst>
              <a:ext uri="{FF2B5EF4-FFF2-40B4-BE49-F238E27FC236}">
                <a16:creationId xmlns:a16="http://schemas.microsoft.com/office/drawing/2014/main" id="{4C766CD7-E3FA-E0D9-F160-BBCF850D14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36012" y="1818412"/>
            <a:ext cx="2653588" cy="786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3159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2147377206,1,Slide214737695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ﾃﾝﾌﾟﾚｰﾄ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大林組様テンプレート">
      <a:majorFont>
        <a:latin typeface="UD Digi Kyokasho NK-R"/>
        <a:ea typeface="UD Digi Kyokasho NK-R"/>
        <a:cs typeface=""/>
      </a:majorFont>
      <a:minorFont>
        <a:latin typeface="UD Digi Kyokasho NK-R"/>
        <a:ea typeface="UD Digi Kyokasho NK-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bg2"/>
            </a:solidFill>
          </a:defRPr>
        </a:defPPr>
      </a:lstStyle>
    </a:spDef>
    <a:lnDef>
      <a:spPr bwMode="auto">
        <a:solidFill>
          <a:schemeClr val="tx1"/>
        </a:solidFill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 marL="0" indent="0" algn="l">
          <a:buFont typeface="Arial" panose="020B0604020202020204" pitchFamily="34" charset="0"/>
          <a:buNone/>
          <a:defRPr kumimoji="1" dirty="0" smtClean="0">
            <a:solidFill>
              <a:schemeClr val="bg2"/>
            </a:solidFill>
            <a:latin typeface="UD Digi Kyokasho NK-R" panose="02020400000000000000" pitchFamily="18" charset="-128"/>
            <a:ea typeface="UD Digi Kyokasho NK-R" panose="02020400000000000000" pitchFamily="18" charset="-128"/>
          </a:defRPr>
        </a:defPPr>
      </a:lstStyle>
    </a:txDef>
  </a:objectDefaults>
  <a:extraClrSchemeLst>
    <a:extraClrScheme>
      <a:clrScheme name="ﾃﾝﾌﾟﾚｰﾄ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ﾃﾝﾌﾟﾚｰﾄ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44BFB38D3924BA449DD2A3F9AC8598C1" ma:contentTypeVersion="4" ma:contentTypeDescription="新しいドキュメントを作成します。" ma:contentTypeScope="" ma:versionID="01896ae8ec9c3c34ea775b5233e7c560">
  <xsd:schema xmlns:xsd="http://www.w3.org/2001/XMLSchema" xmlns:xs="http://www.w3.org/2001/XMLSchema" xmlns:p="http://schemas.microsoft.com/office/2006/metadata/properties" xmlns:ns2="b5215eb2-3612-46fb-928c-80b25e3af644" targetNamespace="http://schemas.microsoft.com/office/2006/metadata/properties" ma:root="true" ma:fieldsID="c8048a0ba54dabe6847b807659176d2e" ns2:_="">
    <xsd:import namespace="b5215eb2-3612-46fb-928c-80b25e3af6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215eb2-3612-46fb-928c-80b25e3af6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2DE2D4B-A091-4835-884C-2C2747A05F41}">
  <ds:schemaRefs>
    <ds:schemaRef ds:uri="http://purl.org/dc/elements/1.1/"/>
    <ds:schemaRef ds:uri="http://schemas.microsoft.com/office/2006/metadata/properties"/>
    <ds:schemaRef ds:uri="b5215eb2-3612-46fb-928c-80b25e3af644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A60279D-43C8-4068-BC32-F3495D445EF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4846FA7-67CE-4186-93F9-26130B0FDB9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5215eb2-3612-46fb-928c-80b25e3af6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608</TotalTime>
  <Words>195</Words>
  <Application>Microsoft Office PowerPoint</Application>
  <PresentationFormat>A4 210 x 297 mm</PresentationFormat>
  <Paragraphs>89</Paragraphs>
  <Slides>2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9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14" baseType="lpstr">
      <vt:lpstr>ＭＳ Ｐゴシック</vt:lpstr>
      <vt:lpstr>UD デジタル 教科書体 NK-R</vt:lpstr>
      <vt:lpstr>UD デジタル 教科書体 NK-R</vt:lpstr>
      <vt:lpstr>Yu Gothic</vt:lpstr>
      <vt:lpstr>Yu Gothic</vt:lpstr>
      <vt:lpstr>Arial</vt:lpstr>
      <vt:lpstr>Calibri</vt:lpstr>
      <vt:lpstr>Calibri Light</vt:lpstr>
      <vt:lpstr>Wingdings</vt:lpstr>
      <vt:lpstr>Office テーマ</vt:lpstr>
      <vt:lpstr>ﾃﾝﾌﾟﾚｰﾄ</vt:lpstr>
      <vt:lpstr>think-cell スライド</vt:lpstr>
      <vt:lpstr>PowerPoint プレゼンテーション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Naoki Takeshita (JP)</dc:creator>
  <cp:lastModifiedBy>梅津一馬</cp:lastModifiedBy>
  <cp:revision>46</cp:revision>
  <cp:lastPrinted>2025-12-11T07:44:19Z</cp:lastPrinted>
  <dcterms:created xsi:type="dcterms:W3CDTF">2023-10-06T04:57:11Z</dcterms:created>
  <dcterms:modified xsi:type="dcterms:W3CDTF">2026-02-06T00:56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4BFB38D3924BA449DD2A3F9AC8598C1</vt:lpwstr>
  </property>
  <property fmtid="{D5CDD505-2E9C-101B-9397-08002B2CF9AE}" pid="3" name="用語セット">
    <vt:lpwstr/>
  </property>
  <property fmtid="{D5CDD505-2E9C-101B-9397-08002B2CF9AE}" pid="4" name="MediaServiceImageTags">
    <vt:lpwstr/>
  </property>
</Properties>
</file>